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C7E873-6B67-4553-8C35-13143B11E42B}" v="55" dt="2023-03-03T23:23:21.2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3" d="100"/>
          <a:sy n="103" d="100"/>
        </p:scale>
        <p:origin x="150" y="648"/>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60C7E873-6B67-4553-8C35-13143B11E42B}"/>
    <pc:docChg chg="custSel addSld delSld modSld">
      <pc:chgData name="Roberto Gallardo" userId="49a044883f185952" providerId="LiveId" clId="{60C7E873-6B67-4553-8C35-13143B11E42B}" dt="2023-03-03T23:23:33.026" v="396" actId="1036"/>
      <pc:docMkLst>
        <pc:docMk/>
      </pc:docMkLst>
      <pc:sldChg chg="del">
        <pc:chgData name="Roberto Gallardo" userId="49a044883f185952" providerId="LiveId" clId="{60C7E873-6B67-4553-8C35-13143B11E42B}" dt="2023-02-25T14:43:27.292" v="4" actId="47"/>
        <pc:sldMkLst>
          <pc:docMk/>
          <pc:sldMk cId="1175010214" sldId="261"/>
        </pc:sldMkLst>
      </pc:sldChg>
      <pc:sldChg chg="addSp modSp mod">
        <pc:chgData name="Roberto Gallardo" userId="49a044883f185952" providerId="LiveId" clId="{60C7E873-6B67-4553-8C35-13143B11E42B}" dt="2023-03-03T23:17:15.524" v="13" actId="1076"/>
        <pc:sldMkLst>
          <pc:docMk/>
          <pc:sldMk cId="1418533539" sldId="271"/>
        </pc:sldMkLst>
        <pc:picChg chg="add mod">
          <ac:chgData name="Roberto Gallardo" userId="49a044883f185952" providerId="LiveId" clId="{60C7E873-6B67-4553-8C35-13143B11E42B}" dt="2023-03-03T23:17:15.524" v="13" actId="1076"/>
          <ac:picMkLst>
            <pc:docMk/>
            <pc:sldMk cId="1418533539" sldId="271"/>
            <ac:picMk id="6" creationId="{39161A83-163D-5F8C-A850-5C6C7473D2C6}"/>
          </ac:picMkLst>
        </pc:picChg>
      </pc:sldChg>
      <pc:sldChg chg="addSp modSp mod">
        <pc:chgData name="Roberto Gallardo" userId="49a044883f185952" providerId="LiveId" clId="{60C7E873-6B67-4553-8C35-13143B11E42B}" dt="2023-03-03T23:19:35.516" v="129" actId="1035"/>
        <pc:sldMkLst>
          <pc:docMk/>
          <pc:sldMk cId="2124848710" sldId="281"/>
        </pc:sldMkLst>
        <pc:picChg chg="add mod">
          <ac:chgData name="Roberto Gallardo" userId="49a044883f185952" providerId="LiveId" clId="{60C7E873-6B67-4553-8C35-13143B11E42B}" dt="2023-03-03T23:19:35.516" v="129" actId="1035"/>
          <ac:picMkLst>
            <pc:docMk/>
            <pc:sldMk cId="2124848710" sldId="281"/>
            <ac:picMk id="6" creationId="{D3B32480-92C5-3A48-C35F-F94BD6BD3661}"/>
          </ac:picMkLst>
        </pc:picChg>
      </pc:sldChg>
      <pc:sldChg chg="addSp modSp mod">
        <pc:chgData name="Roberto Gallardo" userId="49a044883f185952" providerId="LiveId" clId="{60C7E873-6B67-4553-8C35-13143B11E42B}" dt="2023-03-03T23:19:57.537" v="153" actId="1036"/>
        <pc:sldMkLst>
          <pc:docMk/>
          <pc:sldMk cId="2028175529" sldId="282"/>
        </pc:sldMkLst>
        <pc:spChg chg="mod">
          <ac:chgData name="Roberto Gallardo" userId="49a044883f185952" providerId="LiveId" clId="{60C7E873-6B67-4553-8C35-13143B11E42B}" dt="2023-03-03T23:19:42.886" v="132" actId="962"/>
          <ac:spMkLst>
            <pc:docMk/>
            <pc:sldMk cId="2028175529" sldId="282"/>
            <ac:spMk id="2" creationId="{C03B1400-5F72-D252-1DBE-EDCD6E63B07C}"/>
          </ac:spMkLst>
        </pc:spChg>
        <pc:picChg chg="add mod">
          <ac:chgData name="Roberto Gallardo" userId="49a044883f185952" providerId="LiveId" clId="{60C7E873-6B67-4553-8C35-13143B11E42B}" dt="2023-03-03T23:19:57.537" v="153" actId="1036"/>
          <ac:picMkLst>
            <pc:docMk/>
            <pc:sldMk cId="2028175529" sldId="282"/>
            <ac:picMk id="7" creationId="{1AC70467-4DE1-DB89-6CD5-A2D31A4A15EC}"/>
          </ac:picMkLst>
        </pc:picChg>
      </pc:sldChg>
      <pc:sldChg chg="addSp modSp mod">
        <pc:chgData name="Roberto Gallardo" userId="49a044883f185952" providerId="LiveId" clId="{60C7E873-6B67-4553-8C35-13143B11E42B}" dt="2023-03-03T23:20:15.552" v="176" actId="1036"/>
        <pc:sldMkLst>
          <pc:docMk/>
          <pc:sldMk cId="1326517747" sldId="283"/>
        </pc:sldMkLst>
        <pc:picChg chg="add mod">
          <ac:chgData name="Roberto Gallardo" userId="49a044883f185952" providerId="LiveId" clId="{60C7E873-6B67-4553-8C35-13143B11E42B}" dt="2023-03-03T23:20:15.552" v="176" actId="1036"/>
          <ac:picMkLst>
            <pc:docMk/>
            <pc:sldMk cId="1326517747" sldId="283"/>
            <ac:picMk id="7" creationId="{612A2FBD-C874-E92D-0DD6-D3EB440E7666}"/>
          </ac:picMkLst>
        </pc:picChg>
      </pc:sldChg>
      <pc:sldChg chg="addSp modSp mod">
        <pc:chgData name="Roberto Gallardo" userId="49a044883f185952" providerId="LiveId" clId="{60C7E873-6B67-4553-8C35-13143B11E42B}" dt="2023-03-03T23:20:31.942" v="200" actId="1035"/>
        <pc:sldMkLst>
          <pc:docMk/>
          <pc:sldMk cId="783739251" sldId="284"/>
        </pc:sldMkLst>
        <pc:picChg chg="add mod">
          <ac:chgData name="Roberto Gallardo" userId="49a044883f185952" providerId="LiveId" clId="{60C7E873-6B67-4553-8C35-13143B11E42B}" dt="2023-03-03T23:20:31.942" v="200" actId="1035"/>
          <ac:picMkLst>
            <pc:docMk/>
            <pc:sldMk cId="783739251" sldId="284"/>
            <ac:picMk id="7" creationId="{0A972326-CA1D-3D5B-9A6C-A36BF7EDB678}"/>
          </ac:picMkLst>
        </pc:picChg>
      </pc:sldChg>
      <pc:sldChg chg="addSp modSp mod">
        <pc:chgData name="Roberto Gallardo" userId="49a044883f185952" providerId="LiveId" clId="{60C7E873-6B67-4553-8C35-13143B11E42B}" dt="2023-03-03T23:20:52.208" v="220" actId="1036"/>
        <pc:sldMkLst>
          <pc:docMk/>
          <pc:sldMk cId="1676122233" sldId="285"/>
        </pc:sldMkLst>
        <pc:picChg chg="add mod">
          <ac:chgData name="Roberto Gallardo" userId="49a044883f185952" providerId="LiveId" clId="{60C7E873-6B67-4553-8C35-13143B11E42B}" dt="2023-03-03T23:20:52.208" v="220" actId="1036"/>
          <ac:picMkLst>
            <pc:docMk/>
            <pc:sldMk cId="1676122233" sldId="285"/>
            <ac:picMk id="7" creationId="{2F3D6234-0754-667C-E354-49124D66F96D}"/>
          </ac:picMkLst>
        </pc:picChg>
      </pc:sldChg>
      <pc:sldChg chg="addSp modSp mod">
        <pc:chgData name="Roberto Gallardo" userId="49a044883f185952" providerId="LiveId" clId="{60C7E873-6B67-4553-8C35-13143B11E42B}" dt="2023-03-03T23:21:11.076" v="244" actId="1036"/>
        <pc:sldMkLst>
          <pc:docMk/>
          <pc:sldMk cId="3100398757" sldId="286"/>
        </pc:sldMkLst>
        <pc:picChg chg="add mod">
          <ac:chgData name="Roberto Gallardo" userId="49a044883f185952" providerId="LiveId" clId="{60C7E873-6B67-4553-8C35-13143B11E42B}" dt="2023-03-03T23:21:11.076" v="244" actId="1036"/>
          <ac:picMkLst>
            <pc:docMk/>
            <pc:sldMk cId="3100398757" sldId="286"/>
            <ac:picMk id="7" creationId="{9CB665B2-BFCF-C18A-96CB-2C539292A222}"/>
          </ac:picMkLst>
        </pc:picChg>
      </pc:sldChg>
      <pc:sldChg chg="addSp modSp mod">
        <pc:chgData name="Roberto Gallardo" userId="49a044883f185952" providerId="LiveId" clId="{60C7E873-6B67-4553-8C35-13143B11E42B}" dt="2023-03-03T23:21:29.512" v="263" actId="1036"/>
        <pc:sldMkLst>
          <pc:docMk/>
          <pc:sldMk cId="1546475425" sldId="287"/>
        </pc:sldMkLst>
        <pc:picChg chg="add mod">
          <ac:chgData name="Roberto Gallardo" userId="49a044883f185952" providerId="LiveId" clId="{60C7E873-6B67-4553-8C35-13143B11E42B}" dt="2023-03-03T23:21:29.512" v="263" actId="1036"/>
          <ac:picMkLst>
            <pc:docMk/>
            <pc:sldMk cId="1546475425" sldId="287"/>
            <ac:picMk id="7" creationId="{5C9D9E94-5A2C-8D62-38D4-CA54C2DC2F8F}"/>
          </ac:picMkLst>
        </pc:picChg>
      </pc:sldChg>
      <pc:sldChg chg="addSp modSp mod">
        <pc:chgData name="Roberto Gallardo" userId="49a044883f185952" providerId="LiveId" clId="{60C7E873-6B67-4553-8C35-13143B11E42B}" dt="2023-03-03T23:22:08.824" v="303" actId="1035"/>
        <pc:sldMkLst>
          <pc:docMk/>
          <pc:sldMk cId="1380517306" sldId="288"/>
        </pc:sldMkLst>
        <pc:picChg chg="add mod">
          <ac:chgData name="Roberto Gallardo" userId="49a044883f185952" providerId="LiveId" clId="{60C7E873-6B67-4553-8C35-13143B11E42B}" dt="2023-03-03T23:22:08.824" v="303" actId="1035"/>
          <ac:picMkLst>
            <pc:docMk/>
            <pc:sldMk cId="1380517306" sldId="288"/>
            <ac:picMk id="7" creationId="{6A7387BB-4985-A064-AE30-7892709D452D}"/>
          </ac:picMkLst>
        </pc:picChg>
      </pc:sldChg>
      <pc:sldChg chg="addSp modSp mod">
        <pc:chgData name="Roberto Gallardo" userId="49a044883f185952" providerId="LiveId" clId="{60C7E873-6B67-4553-8C35-13143B11E42B}" dt="2023-03-03T23:22:26.673" v="325" actId="1036"/>
        <pc:sldMkLst>
          <pc:docMk/>
          <pc:sldMk cId="1388671151" sldId="289"/>
        </pc:sldMkLst>
        <pc:picChg chg="add mod">
          <ac:chgData name="Roberto Gallardo" userId="49a044883f185952" providerId="LiveId" clId="{60C7E873-6B67-4553-8C35-13143B11E42B}" dt="2023-03-03T23:22:26.673" v="325" actId="1036"/>
          <ac:picMkLst>
            <pc:docMk/>
            <pc:sldMk cId="1388671151" sldId="289"/>
            <ac:picMk id="7" creationId="{474E59DB-A508-8DB9-4913-BC0A2838EF40}"/>
          </ac:picMkLst>
        </pc:picChg>
      </pc:sldChg>
      <pc:sldChg chg="addSp modSp mod">
        <pc:chgData name="Roberto Gallardo" userId="49a044883f185952" providerId="LiveId" clId="{60C7E873-6B67-4553-8C35-13143B11E42B}" dt="2023-03-03T23:23:12.616" v="370" actId="1036"/>
        <pc:sldMkLst>
          <pc:docMk/>
          <pc:sldMk cId="2355376039" sldId="290"/>
        </pc:sldMkLst>
        <pc:picChg chg="add mod">
          <ac:chgData name="Roberto Gallardo" userId="49a044883f185952" providerId="LiveId" clId="{60C7E873-6B67-4553-8C35-13143B11E42B}" dt="2023-03-03T23:23:12.616" v="370" actId="1036"/>
          <ac:picMkLst>
            <pc:docMk/>
            <pc:sldMk cId="2355376039" sldId="290"/>
            <ac:picMk id="8" creationId="{340EAD67-F5A9-AD90-BB87-32F6669B0ACA}"/>
          </ac:picMkLst>
        </pc:picChg>
      </pc:sldChg>
      <pc:sldChg chg="addSp modSp mod">
        <pc:chgData name="Roberto Gallardo" userId="49a044883f185952" providerId="LiveId" clId="{60C7E873-6B67-4553-8C35-13143B11E42B}" dt="2023-03-03T23:23:33.026" v="396" actId="1036"/>
        <pc:sldMkLst>
          <pc:docMk/>
          <pc:sldMk cId="3757257295" sldId="291"/>
        </pc:sldMkLst>
        <pc:picChg chg="add mod">
          <ac:chgData name="Roberto Gallardo" userId="49a044883f185952" providerId="LiveId" clId="{60C7E873-6B67-4553-8C35-13143B11E42B}" dt="2023-03-03T23:23:33.026" v="396" actId="1036"/>
          <ac:picMkLst>
            <pc:docMk/>
            <pc:sldMk cId="3757257295" sldId="291"/>
            <ac:picMk id="8" creationId="{E5F141F7-0BC7-38DE-9228-38B1D973084E}"/>
          </ac:picMkLst>
        </pc:picChg>
      </pc:sldChg>
      <pc:sldChg chg="addSp modSp mod">
        <pc:chgData name="Roberto Gallardo" userId="49a044883f185952" providerId="LiveId" clId="{60C7E873-6B67-4553-8C35-13143B11E42B}" dt="2023-03-03T23:21:46.312" v="282" actId="1036"/>
        <pc:sldMkLst>
          <pc:docMk/>
          <pc:sldMk cId="1259856727" sldId="292"/>
        </pc:sldMkLst>
        <pc:picChg chg="add mod">
          <ac:chgData name="Roberto Gallardo" userId="49a044883f185952" providerId="LiveId" clId="{60C7E873-6B67-4553-8C35-13143B11E42B}" dt="2023-03-03T23:21:46.312" v="282" actId="1036"/>
          <ac:picMkLst>
            <pc:docMk/>
            <pc:sldMk cId="1259856727" sldId="292"/>
            <ac:picMk id="7" creationId="{D6CBC503-82DA-C370-A942-105F8551219B}"/>
          </ac:picMkLst>
        </pc:picChg>
      </pc:sldChg>
      <pc:sldChg chg="addSp modSp mod">
        <pc:chgData name="Roberto Gallardo" userId="49a044883f185952" providerId="LiveId" clId="{60C7E873-6B67-4553-8C35-13143B11E42B}" dt="2023-03-03T23:19:19.942" v="109" actId="1036"/>
        <pc:sldMkLst>
          <pc:docMk/>
          <pc:sldMk cId="3324519687" sldId="293"/>
        </pc:sldMkLst>
        <pc:picChg chg="add mod">
          <ac:chgData name="Roberto Gallardo" userId="49a044883f185952" providerId="LiveId" clId="{60C7E873-6B67-4553-8C35-13143B11E42B}" dt="2023-03-03T23:19:19.942" v="109" actId="1036"/>
          <ac:picMkLst>
            <pc:docMk/>
            <pc:sldMk cId="3324519687" sldId="293"/>
            <ac:picMk id="7" creationId="{F21A3733-D74C-4C15-FAC0-D8D9DE17BC1D}"/>
          </ac:picMkLst>
        </pc:picChg>
      </pc:sldChg>
      <pc:sldChg chg="addSp modSp mod">
        <pc:chgData name="Roberto Gallardo" userId="49a044883f185952" providerId="LiveId" clId="{60C7E873-6B67-4553-8C35-13143B11E42B}" dt="2023-03-03T23:18:28.216" v="66" actId="1076"/>
        <pc:sldMkLst>
          <pc:docMk/>
          <pc:sldMk cId="3256182630" sldId="295"/>
        </pc:sldMkLst>
        <pc:picChg chg="add mod">
          <ac:chgData name="Roberto Gallardo" userId="49a044883f185952" providerId="LiveId" clId="{60C7E873-6B67-4553-8C35-13143B11E42B}" dt="2023-03-03T23:18:28.216" v="66" actId="1076"/>
          <ac:picMkLst>
            <pc:docMk/>
            <pc:sldMk cId="3256182630" sldId="295"/>
            <ac:picMk id="7" creationId="{360450EF-31A9-15C6-11B3-771107C5AFBA}"/>
          </ac:picMkLst>
        </pc:picChg>
      </pc:sldChg>
      <pc:sldChg chg="addSp delSp modSp mod">
        <pc:chgData name="Roberto Gallardo" userId="49a044883f185952" providerId="LiveId" clId="{60C7E873-6B67-4553-8C35-13143B11E42B}" dt="2023-03-03T23:18:56.909" v="90" actId="1036"/>
        <pc:sldMkLst>
          <pc:docMk/>
          <pc:sldMk cId="4057156843" sldId="296"/>
        </pc:sldMkLst>
        <pc:picChg chg="add del mod">
          <ac:chgData name="Roberto Gallardo" userId="49a044883f185952" providerId="LiveId" clId="{60C7E873-6B67-4553-8C35-13143B11E42B}" dt="2023-03-03T23:18:39.400" v="70" actId="478"/>
          <ac:picMkLst>
            <pc:docMk/>
            <pc:sldMk cId="4057156843" sldId="296"/>
            <ac:picMk id="7" creationId="{5925432F-D123-B97A-8197-FE2FA708DCA0}"/>
          </ac:picMkLst>
        </pc:picChg>
        <pc:picChg chg="add mod">
          <ac:chgData name="Roberto Gallardo" userId="49a044883f185952" providerId="LiveId" clId="{60C7E873-6B67-4553-8C35-13143B11E42B}" dt="2023-03-03T23:18:56.909" v="90" actId="1036"/>
          <ac:picMkLst>
            <pc:docMk/>
            <pc:sldMk cId="4057156843" sldId="296"/>
            <ac:picMk id="9" creationId="{6FD06D85-C9BD-E364-5B65-5D6EEBC56A56}"/>
          </ac:picMkLst>
        </pc:picChg>
      </pc:sldChg>
      <pc:sldChg chg="addSp modSp mod">
        <pc:chgData name="Roberto Gallardo" userId="49a044883f185952" providerId="LiveId" clId="{60C7E873-6B67-4553-8C35-13143B11E42B}" dt="2023-03-03T23:17:51.429" v="31" actId="1076"/>
        <pc:sldMkLst>
          <pc:docMk/>
          <pc:sldMk cId="2080110827" sldId="297"/>
        </pc:sldMkLst>
        <pc:picChg chg="add mod">
          <ac:chgData name="Roberto Gallardo" userId="49a044883f185952" providerId="LiveId" clId="{60C7E873-6B67-4553-8C35-13143B11E42B}" dt="2023-03-03T23:17:51.429" v="31" actId="1076"/>
          <ac:picMkLst>
            <pc:docMk/>
            <pc:sldMk cId="2080110827" sldId="297"/>
            <ac:picMk id="6" creationId="{1FFAD325-B5F5-5140-F8DF-AFA5626FB66A}"/>
          </ac:picMkLst>
        </pc:picChg>
      </pc:sldChg>
      <pc:sldChg chg="addSp modSp mod">
        <pc:chgData name="Roberto Gallardo" userId="49a044883f185952" providerId="LiveId" clId="{60C7E873-6B67-4553-8C35-13143B11E42B}" dt="2023-03-03T23:17:36.084" v="23" actId="1076"/>
        <pc:sldMkLst>
          <pc:docMk/>
          <pc:sldMk cId="1532666867" sldId="298"/>
        </pc:sldMkLst>
        <pc:picChg chg="add mod">
          <ac:chgData name="Roberto Gallardo" userId="49a044883f185952" providerId="LiveId" clId="{60C7E873-6B67-4553-8C35-13143B11E42B}" dt="2023-03-03T23:17:36.084" v="23" actId="1076"/>
          <ac:picMkLst>
            <pc:docMk/>
            <pc:sldMk cId="1532666867" sldId="298"/>
            <ac:picMk id="6" creationId="{34E48934-5047-E014-93EF-85587857F1C2}"/>
          </ac:picMkLst>
        </pc:picChg>
      </pc:sldChg>
      <pc:sldChg chg="addSp modSp mod">
        <pc:chgData name="Roberto Gallardo" userId="49a044883f185952" providerId="LiveId" clId="{60C7E873-6B67-4553-8C35-13143B11E42B}" dt="2023-03-03T23:22:53.405" v="349" actId="1036"/>
        <pc:sldMkLst>
          <pc:docMk/>
          <pc:sldMk cId="1951376777" sldId="299"/>
        </pc:sldMkLst>
        <pc:picChg chg="add mod">
          <ac:chgData name="Roberto Gallardo" userId="49a044883f185952" providerId="LiveId" clId="{60C7E873-6B67-4553-8C35-13143B11E42B}" dt="2023-03-03T23:22:53.405" v="349" actId="1036"/>
          <ac:picMkLst>
            <pc:docMk/>
            <pc:sldMk cId="1951376777" sldId="299"/>
            <ac:picMk id="7" creationId="{5B386744-F18D-6FAC-A058-9634D6B6674F}"/>
          </ac:picMkLst>
        </pc:picChg>
      </pc:sldChg>
      <pc:sldChg chg="modSp mod">
        <pc:chgData name="Roberto Gallardo" userId="49a044883f185952" providerId="LiveId" clId="{60C7E873-6B67-4553-8C35-13143B11E42B}" dt="2023-02-25T13:20:08.359" v="2" actId="20577"/>
        <pc:sldMkLst>
          <pc:docMk/>
          <pc:sldMk cId="1515423683" sldId="302"/>
        </pc:sldMkLst>
        <pc:spChg chg="mod">
          <ac:chgData name="Roberto Gallardo" userId="49a044883f185952" providerId="LiveId" clId="{60C7E873-6B67-4553-8C35-13143B11E42B}" dt="2023-02-25T13:20:08.359" v="2" actId="20577"/>
          <ac:spMkLst>
            <pc:docMk/>
            <pc:sldMk cId="1515423683" sldId="302"/>
            <ac:spMk id="5" creationId="{6AE302AC-8931-4144-BE52-DD1A8BA82462}"/>
          </ac:spMkLst>
        </pc:spChg>
        <pc:spChg chg="mod">
          <ac:chgData name="Roberto Gallardo" userId="49a044883f185952" providerId="LiveId" clId="{60C7E873-6B67-4553-8C35-13143B11E42B}" dt="2023-02-25T13:20:05.783" v="1" actId="20577"/>
          <ac:spMkLst>
            <pc:docMk/>
            <pc:sldMk cId="1515423683" sldId="302"/>
            <ac:spMk id="9" creationId="{E362A98F-7DCD-C67C-23CE-1BE182A133B4}"/>
          </ac:spMkLst>
        </pc:spChg>
      </pc:sldChg>
      <pc:sldChg chg="del">
        <pc:chgData name="Roberto Gallardo" userId="49a044883f185952" providerId="LiveId" clId="{60C7E873-6B67-4553-8C35-13143B11E42B}" dt="2023-02-25T14:43:27.292" v="4" actId="47"/>
        <pc:sldMkLst>
          <pc:docMk/>
          <pc:sldMk cId="2841628872" sldId="303"/>
        </pc:sldMkLst>
      </pc:sldChg>
      <pc:sldChg chg="del">
        <pc:chgData name="Roberto Gallardo" userId="49a044883f185952" providerId="LiveId" clId="{60C7E873-6B67-4553-8C35-13143B11E42B}" dt="2023-02-25T14:43:27.292" v="4" actId="47"/>
        <pc:sldMkLst>
          <pc:docMk/>
          <pc:sldMk cId="3084076302" sldId="304"/>
        </pc:sldMkLst>
      </pc:sldChg>
      <pc:sldChg chg="del">
        <pc:chgData name="Roberto Gallardo" userId="49a044883f185952" providerId="LiveId" clId="{60C7E873-6B67-4553-8C35-13143B11E42B}" dt="2023-02-25T14:43:27.292" v="4" actId="47"/>
        <pc:sldMkLst>
          <pc:docMk/>
          <pc:sldMk cId="473712435" sldId="305"/>
        </pc:sldMkLst>
      </pc:sldChg>
      <pc:sldChg chg="add">
        <pc:chgData name="Roberto Gallardo" userId="49a044883f185952" providerId="LiveId" clId="{60C7E873-6B67-4553-8C35-13143B11E42B}" dt="2023-02-25T14:43:23.887" v="3"/>
        <pc:sldMkLst>
          <pc:docMk/>
          <pc:sldMk cId="3709203639" sldId="307"/>
        </pc:sldMkLst>
      </pc:sldChg>
      <pc:sldChg chg="add">
        <pc:chgData name="Roberto Gallardo" userId="49a044883f185952" providerId="LiveId" clId="{60C7E873-6B67-4553-8C35-13143B11E42B}" dt="2023-02-25T14:43:23.887" v="3"/>
        <pc:sldMkLst>
          <pc:docMk/>
          <pc:sldMk cId="2599902769" sldId="308"/>
        </pc:sldMkLst>
      </pc:sldChg>
      <pc:sldChg chg="add">
        <pc:chgData name="Roberto Gallardo" userId="49a044883f185952" providerId="LiveId" clId="{60C7E873-6B67-4553-8C35-13143B11E42B}" dt="2023-02-25T14:43:23.887" v="3"/>
        <pc:sldMkLst>
          <pc:docMk/>
          <pc:sldMk cId="1359210026" sldId="309"/>
        </pc:sldMkLst>
      </pc:sldChg>
      <pc:sldChg chg="add">
        <pc:chgData name="Roberto Gallardo" userId="49a044883f185952" providerId="LiveId" clId="{60C7E873-6B67-4553-8C35-13143B11E42B}" dt="2023-02-25T14:43:23.887" v="3"/>
        <pc:sldMkLst>
          <pc:docMk/>
          <pc:sldMk cId="413379296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3/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3/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Washingt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CB163BB-CA14-F2D7-2C48-36D939159BFB}"/>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3592100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32D0568-351F-EBDC-59D0-E4313D6B006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1337929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map&#10;&#10;Description automatically generated">
            <a:extLst>
              <a:ext uri="{FF2B5EF4-FFF2-40B4-BE49-F238E27FC236}">
                <a16:creationId xmlns:a16="http://schemas.microsoft.com/office/drawing/2014/main" id="{39161A83-163D-5F8C-A850-5C6C7473D2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34E48934-5047-E014-93EF-85587857F1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4554"/>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1FFAD325-B5F5-5140-F8DF-AFA5626FB6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79C543D-C24A-8F99-7098-D26B5D1C7592}"/>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10;&#10;Description automatically generated">
            <a:extLst>
              <a:ext uri="{FF2B5EF4-FFF2-40B4-BE49-F238E27FC236}">
                <a16:creationId xmlns:a16="http://schemas.microsoft.com/office/drawing/2014/main" id="{360450EF-31A9-15C6-11B3-771107C5AF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8523"/>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87EFBA3-11CC-0C06-A41D-F02341C9663A}"/>
              </a:ext>
            </a:extLst>
          </p:cNvPr>
          <p:cNvPicPr preferRelativeResize="0"/>
          <p:nvPr/>
        </p:nvPicPr>
        <p:blipFill>
          <a:blip r:embed="rId2"/>
          <a:stretch>
            <a:fillRect/>
          </a:stretch>
        </p:blipFill>
        <p:spPr>
          <a:xfrm>
            <a:off x="149225" y="1754188"/>
            <a:ext cx="5372100" cy="3844925"/>
          </a:xfrm>
          <a:prstGeom prst="rect">
            <a:avLst/>
          </a:prstGeom>
        </p:spPr>
      </p:pic>
      <p:pic>
        <p:nvPicPr>
          <p:cNvPr id="9" name="Picture 8" descr="Diagram&#10;&#10;Description automatically generated">
            <a:extLst>
              <a:ext uri="{FF2B5EF4-FFF2-40B4-BE49-F238E27FC236}">
                <a16:creationId xmlns:a16="http://schemas.microsoft.com/office/drawing/2014/main" id="{6FD06D85-C9BD-E364-5B65-5D6EEBC56A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3"/>
            <a:ext cx="6365875" cy="450167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74398076-0B08-1548-0F10-F64688055EC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a:extLst>
              <a:ext uri="{FF2B5EF4-FFF2-40B4-BE49-F238E27FC236}">
                <a16:creationId xmlns:a16="http://schemas.microsoft.com/office/drawing/2014/main" id="{F21A3733-D74C-4C15-FAC0-D8D9DE17BC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2"/>
            <a:ext cx="6372963" cy="4506686"/>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E5036AD-BF05-7BCE-01DE-DD1C9BBB916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D3B32480-92C5-3A48-C35F-F94BD6BD36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3028" y="1444690"/>
            <a:ext cx="6346572" cy="448802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DA59076B-12AF-E374-2A36-9543F4D2D1F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1AC70467-4DE1-DB89-6CD5-A2D31A4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44693"/>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9F528272-AC69-B126-7A5B-5D59649AC63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612A2FBD-C874-E92D-0DD6-D3EB440E76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44690"/>
            <a:ext cx="6366726" cy="4502276"/>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1C6DB525-E5F4-3238-CD0F-FAD3BD81DCB9}"/>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0A972326-CA1D-3D5B-9A6C-A36BF7EDB6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44694"/>
            <a:ext cx="6362701" cy="449943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40283B01-B2D4-A136-B308-0C64F9DBD30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2F3D6234-0754-667C-E354-49124D66F9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361"/>
            <a:ext cx="6365781" cy="450160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968E6AE-1C51-38E4-DC88-CF05B952E0D1}"/>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9CB665B2-BFCF-C18A-96CB-2C539292A2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6"/>
            <a:ext cx="6362700"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78D38A9-7B4F-B217-330D-3DEDA7DBB689}"/>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5C9D9E94-5A2C-8D62-38D4-CA54C2DC2F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1" y="1444691"/>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22A73AFF-6D8C-54FE-9189-061B67A7DC55}"/>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D6CBC503-82DA-C370-A942-105F855121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44692"/>
            <a:ext cx="6361381" cy="449849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CB06805B-62A8-70C1-2E5D-26EEB15B3D4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6A7387BB-4985-A064-AE30-7892709D45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35360"/>
            <a:ext cx="6375162" cy="450824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716C3AD9-7608-AFD0-E4E8-ECB00A78B2F1}"/>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474E59DB-A508-8DB9-4913-BC0A2838EF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4693"/>
            <a:ext cx="6362700" cy="4499428"/>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ED23F31-827B-1A8C-9818-FC5705F39A3E}"/>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5B386744-F18D-6FAC-A058-9634D6B667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43257"/>
            <a:ext cx="6362700" cy="4499428"/>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3C83DA3A-8731-183A-D454-F34F29DA00F5}"/>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10;&#10;Description automatically generated">
            <a:extLst>
              <a:ext uri="{FF2B5EF4-FFF2-40B4-BE49-F238E27FC236}">
                <a16:creationId xmlns:a16="http://schemas.microsoft.com/office/drawing/2014/main" id="{340EAD67-F5A9-AD90-BB87-32F6669B0A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3341" y="1444692"/>
            <a:ext cx="6361967" cy="44989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23033D8-6722-51CE-5974-7157A2982908}"/>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E59912A-FEAD-001E-09F9-F9C76338556E}"/>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E5F141F7-0BC7-38DE-9228-38B1D97308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9805"/>
            <a:ext cx="6362700"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DBC41BD-CA64-9677-3F99-1672CB0C689A}"/>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4BA3719-AE3F-4EC6-53BF-75FB58D518DD}"/>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EEDC6E5-857F-878B-95BB-E6A9D9379F84}"/>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439476"/>
            <a:ext cx="1198148" cy="2557413"/>
            <a:chOff x="10485745" y="3619587"/>
            <a:chExt cx="1198148" cy="25574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45795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0612" y="61770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6195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619587"/>
              <a:ext cx="0" cy="959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73275" y="5494936"/>
              <a:ext cx="0" cy="6630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1F170A6-0F2F-E6F1-37A7-18BF0A768BB1}"/>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70542A3-E2F3-DBC0-9E19-0F987FF06539}"/>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CB3EDEE-A723-97D4-B946-9EFE934427F8}"/>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085E9E1-155B-5F4D-FEA6-1ACD4EB44A7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2335F940-8F2D-A427-C699-C8DA069E1E7F}"/>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AB6B7F28-A2E9-F860-ED54-0172597A91FD}"/>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01A8B923-D741-3E6E-B669-1D3CC9B523D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9203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FE338622-511D-5CE6-665F-4235A6E02C93}"/>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2599902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26</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76</cp:revision>
  <dcterms:created xsi:type="dcterms:W3CDTF">2022-07-04T13:32:28Z</dcterms:created>
  <dcterms:modified xsi:type="dcterms:W3CDTF">2023-03-03T23:23:37Z</dcterms:modified>
</cp:coreProperties>
</file>